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35352038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1" d="100"/>
          <a:sy n="31" d="100"/>
        </p:scale>
        <p:origin x="217" y="183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A6E7EF9-460C-AB12-A923-8992E1F4CF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7B0382-A1E5-D294-C31D-FE8F21A719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CB6FF3-BB1A-402B-97DA-B8D1CC2658A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F76A07-CCE5-4E2C-7D92-895572392A9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5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DFD00-CA53-8AEB-2DD7-8A624A180F1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901E9B-28CB-4D76-9ABF-AF277E0190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DA3FAA-D404-433E-9F89-04B4BFC7B799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524375" y="1143000"/>
            <a:ext cx="159067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5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61F598-5E6A-48E2-AD59-D66FED0ECCA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6471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61F598-5E6A-48E2-AD59-D66FED0ECCA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896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154" y="75600"/>
            <a:ext cx="34290624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77153" y="6605844"/>
            <a:ext cx="10786547" cy="126000"/>
          </a:xfrm>
        </p:spPr>
        <p:txBody>
          <a:bodyPr/>
          <a:lstStyle/>
          <a:p>
            <a:fld id="{F0DACE9C-53F4-4B17-ADDF-26C1694CDCF2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329549" y="6605844"/>
            <a:ext cx="10022160" cy="126000"/>
          </a:xfrm>
        </p:spPr>
        <p:txBody>
          <a:bodyPr/>
          <a:lstStyle/>
          <a:p>
            <a:r>
              <a:rPr lang="de-DE"/>
              <a:t>PowerPoint-1067×5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854608" y="6590168"/>
            <a:ext cx="1013168" cy="151200"/>
          </a:xfrm>
        </p:spPr>
        <p:txBody>
          <a:bodyPr/>
          <a:lstStyle/>
          <a:p>
            <a:fld id="{3BE891E2-95DB-4422-85A1-FE173643A97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77152" y="914400"/>
            <a:ext cx="28866192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267699552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B28DE-9358-0A2A-BD1C-E5B07C249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528B6A-7B1C-14DB-8705-713ECAF7D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ACE9C-53F4-4B17-ADDF-26C1694CDCF2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99CB27-ED8E-A6C8-90C6-150CDC1B0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5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BC19C5-51F1-A696-2273-256EB1D5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891E2-95DB-4422-85A1-FE173643A97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2246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577153" y="6605844"/>
            <a:ext cx="10786547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F0DACE9C-53F4-4B17-ADDF-26C1694CDCF2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23329549" y="6605844"/>
            <a:ext cx="10022160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5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77154" y="75600"/>
            <a:ext cx="34290624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577152" y="914400"/>
            <a:ext cx="28866192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33854608" y="6590168"/>
            <a:ext cx="1013168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BE891E2-95DB-4422-85A1-FE173643A972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238605" y="6165304"/>
            <a:ext cx="17436074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389682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1639F-6E47-B1D2-3155-D8F200B6F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4493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6:51Z</dcterms:created>
  <dcterms:modified xsi:type="dcterms:W3CDTF">2025-09-01T07:46:52Z</dcterms:modified>
</cp:coreProperties>
</file>